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sldIdLst>
    <p:sldId id="256" r:id="rId2"/>
    <p:sldId id="257" r:id="rId3"/>
    <p:sldId id="258" r:id="rId4"/>
    <p:sldId id="259" r:id="rId5"/>
    <p:sldId id="260" r:id="rId6"/>
    <p:sldId id="262" r:id="rId7"/>
    <p:sldId id="263" r:id="rId8"/>
    <p:sldId id="261" r:id="rId9"/>
    <p:sldId id="265" r:id="rId10"/>
  </p:sldIdLst>
  <p:sldSz cx="12192000" cy="6858000"/>
  <p:notesSz cx="6858000" cy="9144000"/>
  <p:custDataLst>
    <p:tags r:id="rId11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665"/>
    <p:restoredTop sz="94690"/>
  </p:normalViewPr>
  <p:slideViewPr>
    <p:cSldViewPr snapToGrid="0">
      <p:cViewPr varScale="1">
        <p:scale>
          <a:sx n="131" d="100"/>
          <a:sy n="131" d="100"/>
        </p:scale>
        <p:origin x="688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69F37BE-5940-7B2B-7DC1-B4AF649A66D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6CC78EE1-286A-7CB0-9541-1154610113B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10497EC-FF1F-7350-FF47-37F2A72D54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367B7F-65B4-4F4B-9E96-1956BB26AB7A}" type="datetimeFigureOut">
              <a:rPr lang="de-DE" smtClean="0"/>
              <a:t>13.01.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7B512F8-0D42-DE22-74A3-C888659AEA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FB8B24D-3529-A900-75C1-39698FB9EC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7A99A-8F81-DC4B-97C2-5080BF698ED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8436203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6694254-66BF-C75D-7172-A899F8021D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4F2952AE-26DD-5E20-E985-1BB0ED7C5DF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993FDE4-0A6C-C088-F51F-2F1F710C88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367B7F-65B4-4F4B-9E96-1956BB26AB7A}" type="datetimeFigureOut">
              <a:rPr lang="de-DE" smtClean="0"/>
              <a:t>13.01.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D672630-C1C7-7F39-61ED-2BE51DF7F6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9F4D4EA-934F-1D42-8FD7-7454A7EE3E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7A99A-8F81-DC4B-97C2-5080BF698ED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2147244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E2793ED4-7043-FE90-3F4E-835E7E1DF2F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3F6A068E-F10B-A1FF-EAC6-B5BD0410CD7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5FB5B78-A388-78E7-F3CF-CF6269419B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367B7F-65B4-4F4B-9E96-1956BB26AB7A}" type="datetimeFigureOut">
              <a:rPr lang="de-DE" smtClean="0"/>
              <a:t>13.01.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315CE88-E55E-2944-82A1-A4E9A8CCE1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A8EFF0E-CE36-8033-3432-FABD66E361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7A99A-8F81-DC4B-97C2-5080BF698ED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3882456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0B73314-FF53-D56B-5E1D-A7C5D98EDF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93B374B-23B4-8616-F1AF-55D1A74D917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ADB1D73-7AF1-D782-ACB2-54B51B6D13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367B7F-65B4-4F4B-9E96-1956BB26AB7A}" type="datetimeFigureOut">
              <a:rPr lang="de-DE" smtClean="0"/>
              <a:t>13.01.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ADF144E-57D1-9EDF-92CD-5020138BFE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DCAA28C-E9C5-ADB1-6E6F-9138FF273F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7A99A-8F81-DC4B-97C2-5080BF698ED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500804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39A92BC-8F56-7EBE-9ED4-5F5534B498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FE34C07-D3AA-D766-601D-2672FD4548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CF2FCCC-7ED0-3768-328B-DDA8F2FD3B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367B7F-65B4-4F4B-9E96-1956BB26AB7A}" type="datetimeFigureOut">
              <a:rPr lang="de-DE" smtClean="0"/>
              <a:t>13.01.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AB18D05-A16E-EB74-3EC0-177388DF0D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123B12E-3592-013B-B115-DA431F884E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7A99A-8F81-DC4B-97C2-5080BF698ED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419775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4B9EC0F-9E1F-2A8F-9541-0F53BDF79E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95AABAB-8777-1A51-366F-2F41BB2B04E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597D0232-700A-2A46-8944-B5A8834545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7219B9EC-9B9E-1CD3-CDEC-5CD957F96F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367B7F-65B4-4F4B-9E96-1956BB26AB7A}" type="datetimeFigureOut">
              <a:rPr lang="de-DE" smtClean="0"/>
              <a:t>13.01.24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A4121A9C-A394-FE20-4F70-6FB112A27B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A0264A6-8A94-BE82-510F-DED6AC5443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7A99A-8F81-DC4B-97C2-5080BF698ED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970135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AD5E0BD-1DE2-6711-45E8-D7834D923C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501D38B-77F2-7402-9656-64B80D009AE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129B974-3E54-E631-3047-627D717D34F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F8B20203-ECA0-47A7-9955-4DA6D7001AE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D04EB205-3F5D-BF87-D358-E4F06AD0C08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2FF0451C-BCD1-251C-8E51-DF0715311F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367B7F-65B4-4F4B-9E96-1956BB26AB7A}" type="datetimeFigureOut">
              <a:rPr lang="de-DE" smtClean="0"/>
              <a:t>13.01.24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DF7B9795-8490-B538-553F-B8955433D6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189C7731-33D5-9ACB-5A98-4D8B480D2B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7A99A-8F81-DC4B-97C2-5080BF698ED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408977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ADA61AD-910F-066B-D04F-508002B2CA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58A8FE0-B374-758D-854D-8D6E90AAA7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367B7F-65B4-4F4B-9E96-1956BB26AB7A}" type="datetimeFigureOut">
              <a:rPr lang="de-DE" smtClean="0"/>
              <a:t>13.01.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D3053F9-8EEB-D078-9E73-F9866436A4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087839C-6B42-40AD-EDB0-D1CB0F8064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7A99A-8F81-DC4B-97C2-5080BF698ED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253158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BF3612F-4EC6-5846-89C2-4E27683B6F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367B7F-65B4-4F4B-9E96-1956BB26AB7A}" type="datetimeFigureOut">
              <a:rPr lang="de-DE" smtClean="0"/>
              <a:t>13.01.24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2CCFB6F-0DDB-C29C-BC58-5CAE4F49ED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30A185F-0806-ED5D-3A95-4C2DFAF97A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7A99A-8F81-DC4B-97C2-5080BF698ED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1129283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0CC62F1-B33B-58A3-885B-4505E5EEF3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22011D5-2EB5-4E4A-DCE4-31A864A2518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B935283-8B9E-0AB8-7A4A-550A993E48D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30E3CDC4-AE45-E538-8118-F0268153AE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367B7F-65B4-4F4B-9E96-1956BB26AB7A}" type="datetimeFigureOut">
              <a:rPr lang="de-DE" smtClean="0"/>
              <a:t>13.01.24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18960B2F-6961-7361-644F-AFE961FEC6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E574637-F990-C436-99F9-256CD5D036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7A99A-8F81-DC4B-97C2-5080BF698ED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4484500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72D6D3E-E766-F6D0-2F28-BDEF88F51C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7C11657E-2BC0-2687-A215-7CDC3ACFD88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9BB6F33-740C-83F4-2BAF-D6F55161CA0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9FB5DA4B-1595-F99E-7C80-52F7F070C0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367B7F-65B4-4F4B-9E96-1956BB26AB7A}" type="datetimeFigureOut">
              <a:rPr lang="de-DE" smtClean="0"/>
              <a:t>13.01.24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ADC91B7B-28C0-9F90-FFBC-4EB39E7DE1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C1DED13B-9F62-C39B-F348-E221C8FB09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7A99A-8F81-DC4B-97C2-5080BF698ED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7618067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884CA2B3-BDA6-33E8-F918-22237ED81C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30433859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4" imgW="7772400" imgH="10058400" progId="TCLayout.ActiveDocument.1">
                  <p:embed/>
                </p:oleObj>
              </mc:Choice>
              <mc:Fallback>
                <p:oleObj name="think-cell Folie" r:id="rId1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524D336B-C7B9-BBFE-0AAF-CEB4923D01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F2CE226-ACE7-DCEE-F33D-5AF704DB11A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21B5606-5D25-9F28-F2C2-4BD5F472FBC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5367B7F-65B4-4F4B-9E96-1956BB26AB7A}" type="datetimeFigureOut">
              <a:rPr lang="de-DE" smtClean="0"/>
              <a:t>13.01.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CDAFC8C-720C-5C9C-87EA-38984358033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267E988-3413-6254-11F9-0364F584DA2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107A99A-8F81-DC4B-97C2-5080BF698ED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211192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oleObject" Target="../embeddings/oleObject5.bin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2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.xml"/><Relationship Id="rId5" Type="http://schemas.openxmlformats.org/officeDocument/2006/relationships/image" Target="../media/image8.PNG"/><Relationship Id="rId4" Type="http://schemas.openxmlformats.org/officeDocument/2006/relationships/image" Target="../media/image2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2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9.xml"/><Relationship Id="rId5" Type="http://schemas.openxmlformats.org/officeDocument/2006/relationships/image" Target="../media/image11.png"/><Relationship Id="rId4" Type="http://schemas.openxmlformats.org/officeDocument/2006/relationships/image" Target="../media/image2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0.xml"/><Relationship Id="rId4" Type="http://schemas.openxmlformats.org/officeDocument/2006/relationships/image" Target="../media/image2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1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795524D9-CD40-8629-753B-D0D0D07552D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908747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feld 6">
            <a:extLst>
              <a:ext uri="{FF2B5EF4-FFF2-40B4-BE49-F238E27FC236}">
                <a16:creationId xmlns:a16="http://schemas.microsoft.com/office/drawing/2014/main" id="{82700A8C-1F3C-D3B8-4570-703F75E856CF}"/>
              </a:ext>
            </a:extLst>
          </p:cNvPr>
          <p:cNvSpPr txBox="1"/>
          <p:nvPr/>
        </p:nvSpPr>
        <p:spPr>
          <a:xfrm>
            <a:off x="1072054" y="1828800"/>
            <a:ext cx="6778167" cy="48013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Gegenstand:	Einsatzkonzepte</a:t>
            </a:r>
          </a:p>
          <a:p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Ziel:		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 Erstellen</a:t>
            </a:r>
          </a:p>
          <a:p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		 Vermitteln</a:t>
            </a:r>
          </a:p>
          <a:p>
            <a:endParaRPr lang="de-DE" dirty="0">
              <a:latin typeface="Arial" panose="020B0604020202020204" pitchFamily="34" charset="0"/>
              <a:cs typeface="Arial" panose="020B0604020202020204" pitchFamily="34" charset="0"/>
              <a:sym typeface="Wingdings" pitchFamily="2" charset="2"/>
            </a:endParaRPr>
          </a:p>
          <a:p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Quelle:		Einsatzkonzepte aus dem Internet </a:t>
            </a:r>
          </a:p>
          <a:p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		(frei verfügbare Informationen)</a:t>
            </a:r>
          </a:p>
          <a:p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		- Tunnel</a:t>
            </a:r>
          </a:p>
          <a:p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		- Elektroauto</a:t>
            </a:r>
          </a:p>
          <a:p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		- BMA</a:t>
            </a:r>
          </a:p>
          <a:p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		- MANV</a:t>
            </a:r>
          </a:p>
          <a:p>
            <a:endParaRPr lang="de-DE" dirty="0">
              <a:latin typeface="Arial" panose="020B0604020202020204" pitchFamily="34" charset="0"/>
              <a:cs typeface="Arial" panose="020B0604020202020204" pitchFamily="34" charset="0"/>
              <a:sym typeface="Wingdings" pitchFamily="2" charset="2"/>
            </a:endParaRPr>
          </a:p>
          <a:p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Mittel:		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ChatGPT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 4</a:t>
            </a:r>
          </a:p>
          <a:p>
            <a:endParaRPr lang="de-DE" dirty="0">
              <a:latin typeface="Arial" panose="020B0604020202020204" pitchFamily="34" charset="0"/>
              <a:cs typeface="Arial" panose="020B0604020202020204" pitchFamily="34" charset="0"/>
              <a:sym typeface="Wingdings" pitchFamily="2" charset="2"/>
            </a:endParaRPr>
          </a:p>
          <a:p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Challenge:	1) Möglichkeiten / Grenzen explorieren</a:t>
            </a:r>
          </a:p>
          <a:p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		2) brauchbare Prompts identifizieren</a:t>
            </a:r>
          </a:p>
          <a:p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		= „Proof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of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 Concept“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6D6E3EF5-1C49-6A80-52F9-9460C8AE0E08}"/>
              </a:ext>
            </a:extLst>
          </p:cNvPr>
          <p:cNvSpPr txBox="1"/>
          <p:nvPr/>
        </p:nvSpPr>
        <p:spPr>
          <a:xfrm>
            <a:off x="1072054" y="861848"/>
            <a:ext cx="791429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Einsatzkonzepte Smart und Intuitiv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A5C71DFA-858E-EC5C-5B7C-9A1B77DC24D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529208" y="2063771"/>
            <a:ext cx="4351997" cy="4219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253444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795524D9-CD40-8629-753B-D0D0D07552D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5524D9-CD40-8629-753B-D0D0D07552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feld 6">
            <a:extLst>
              <a:ext uri="{FF2B5EF4-FFF2-40B4-BE49-F238E27FC236}">
                <a16:creationId xmlns:a16="http://schemas.microsoft.com/office/drawing/2014/main" id="{82700A8C-1F3C-D3B8-4570-703F75E856CF}"/>
              </a:ext>
            </a:extLst>
          </p:cNvPr>
          <p:cNvSpPr txBox="1"/>
          <p:nvPr/>
        </p:nvSpPr>
        <p:spPr>
          <a:xfrm>
            <a:off x="1072054" y="1860331"/>
            <a:ext cx="9890235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ERSTELLE</a:t>
            </a:r>
          </a:p>
          <a:p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- Einsatzkonzepte aus Drittliteratur</a:t>
            </a:r>
          </a:p>
          <a:p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- Schulungsmaterial</a:t>
            </a:r>
          </a:p>
          <a:p>
            <a:endParaRPr lang="de-DE" dirty="0">
              <a:latin typeface="Arial" panose="020B0604020202020204" pitchFamily="34" charset="0"/>
              <a:cs typeface="Arial" panose="020B0604020202020204" pitchFamily="34" charset="0"/>
              <a:sym typeface="Wingdings" pitchFamily="2" charset="2"/>
            </a:endParaRPr>
          </a:p>
          <a:p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FINDE</a:t>
            </a:r>
          </a:p>
          <a:p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- Inkonsistenzen in einem Konzept</a:t>
            </a:r>
          </a:p>
          <a:p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- Inkonsistenzen zwischen Konzepten</a:t>
            </a:r>
          </a:p>
          <a:p>
            <a:endParaRPr lang="de-DE" dirty="0">
              <a:latin typeface="Arial" panose="020B0604020202020204" pitchFamily="34" charset="0"/>
              <a:cs typeface="Arial" panose="020B0604020202020204" pitchFamily="34" charset="0"/>
              <a:sym typeface="Wingdings" pitchFamily="2" charset="2"/>
            </a:endParaRPr>
          </a:p>
          <a:p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KÜRZE</a:t>
            </a:r>
          </a:p>
          <a:p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- Konzepte so, dass sie in eine Taschenkarte passen</a:t>
            </a:r>
          </a:p>
          <a:p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- Konzepte so, dass sie „dynamisch“ adressatengerecht (GF/ZF) in eine Taschenkarte passen</a:t>
            </a:r>
          </a:p>
          <a:p>
            <a:endParaRPr lang="de-DE" dirty="0">
              <a:latin typeface="Arial" panose="020B0604020202020204" pitchFamily="34" charset="0"/>
              <a:cs typeface="Arial" panose="020B0604020202020204" pitchFamily="34" charset="0"/>
              <a:sym typeface="Wingdings" pitchFamily="2" charset="2"/>
            </a:endParaRPr>
          </a:p>
          <a:p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OPTIMIERE</a:t>
            </a:r>
          </a:p>
          <a:p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- Text und Struktur verbessern (Beamtendeutsch)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EC0B0CD1-BC9B-EE6D-AC52-E9F650532C93}"/>
              </a:ext>
            </a:extLst>
          </p:cNvPr>
          <p:cNvSpPr txBox="1"/>
          <p:nvPr/>
        </p:nvSpPr>
        <p:spPr>
          <a:xfrm>
            <a:off x="1072054" y="861848"/>
            <a:ext cx="791429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Aufgaben für das LLM</a:t>
            </a:r>
          </a:p>
        </p:txBody>
      </p:sp>
    </p:spTree>
    <p:extLst>
      <p:ext uri="{BB962C8B-B14F-4D97-AF65-F5344CB8AC3E}">
        <p14:creationId xmlns:p14="http://schemas.microsoft.com/office/powerpoint/2010/main" val="82216320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795524D9-CD40-8629-753B-D0D0D07552D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5524D9-CD40-8629-753B-D0D0D07552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feld 6">
            <a:extLst>
              <a:ext uri="{FF2B5EF4-FFF2-40B4-BE49-F238E27FC236}">
                <a16:creationId xmlns:a16="http://schemas.microsoft.com/office/drawing/2014/main" id="{82700A8C-1F3C-D3B8-4570-703F75E856CF}"/>
              </a:ext>
            </a:extLst>
          </p:cNvPr>
          <p:cNvSpPr txBox="1"/>
          <p:nvPr/>
        </p:nvSpPr>
        <p:spPr>
          <a:xfrm>
            <a:off x="1072054" y="1860331"/>
            <a:ext cx="9890235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GENERIERE EIN KONZEPT in eine vorgegebene Gliederung (Neuen Inhalt erstellen)</a:t>
            </a:r>
          </a:p>
          <a:p>
            <a:endParaRPr lang="de-DE" dirty="0">
              <a:latin typeface="Arial" panose="020B0604020202020204" pitchFamily="34" charset="0"/>
              <a:cs typeface="Arial" panose="020B0604020202020204" pitchFamily="34" charset="0"/>
              <a:sym typeface="Wingdings" pitchFamily="2" charset="2"/>
            </a:endParaRPr>
          </a:p>
          <a:p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BEFÜLLE EINE FORMATVORLAGE, z.B. eine Taschenkarte (Kondensierung von Inhalten)</a:t>
            </a:r>
          </a:p>
          <a:p>
            <a:endParaRPr lang="de-DE" dirty="0">
              <a:latin typeface="Arial" panose="020B0604020202020204" pitchFamily="34" charset="0"/>
              <a:cs typeface="Arial" panose="020B0604020202020204" pitchFamily="34" charset="0"/>
              <a:sym typeface="Wingdings" pitchFamily="2" charset="2"/>
            </a:endParaRPr>
          </a:p>
          <a:p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ERSTELLE DYNAMISCHE INHALTE für unterschiedliche Adressaten, z.B. GF/ZF</a:t>
            </a:r>
          </a:p>
          <a:p>
            <a:endParaRPr lang="de-DE" dirty="0">
              <a:latin typeface="Arial" panose="020B0604020202020204" pitchFamily="34" charset="0"/>
              <a:cs typeface="Arial" panose="020B0604020202020204" pitchFamily="34" charset="0"/>
              <a:sym typeface="Wingdings" pitchFamily="2" charset="2"/>
            </a:endParaRPr>
          </a:p>
          <a:p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VERGLEICHE DOKUMENTE, z.B. verschiedenen Konzepte</a:t>
            </a:r>
          </a:p>
          <a:p>
            <a:endParaRPr lang="de-DE" dirty="0">
              <a:latin typeface="Arial" panose="020B0604020202020204" pitchFamily="34" charset="0"/>
              <a:cs typeface="Arial" panose="020B0604020202020204" pitchFamily="34" charset="0"/>
              <a:sym typeface="Wingdings" pitchFamily="2" charset="2"/>
            </a:endParaRPr>
          </a:p>
          <a:p>
            <a:endParaRPr lang="de-DE" dirty="0">
              <a:latin typeface="Arial" panose="020B0604020202020204" pitchFamily="34" charset="0"/>
              <a:cs typeface="Arial" panose="020B0604020202020204" pitchFamily="34" charset="0"/>
              <a:sym typeface="Wingdings" pitchFamily="2" charset="2"/>
            </a:endParaRP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EC0B0CD1-BC9B-EE6D-AC52-E9F650532C93}"/>
              </a:ext>
            </a:extLst>
          </p:cNvPr>
          <p:cNvSpPr txBox="1"/>
          <p:nvPr/>
        </p:nvSpPr>
        <p:spPr>
          <a:xfrm>
            <a:off x="1072054" y="861848"/>
            <a:ext cx="791429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Anwendungsfälle für Proof </a:t>
            </a:r>
            <a:r>
              <a:rPr lang="de-DE" sz="2000" b="1" dirty="0" err="1">
                <a:latin typeface="Arial" panose="020B0604020202020204" pitchFamily="34" charset="0"/>
                <a:cs typeface="Arial" panose="020B0604020202020204" pitchFamily="34" charset="0"/>
              </a:rPr>
              <a:t>of</a:t>
            </a:r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 Concept</a:t>
            </a:r>
          </a:p>
        </p:txBody>
      </p:sp>
    </p:spTree>
    <p:extLst>
      <p:ext uri="{BB962C8B-B14F-4D97-AF65-F5344CB8AC3E}">
        <p14:creationId xmlns:p14="http://schemas.microsoft.com/office/powerpoint/2010/main" val="34521556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795524D9-CD40-8629-753B-D0D0D07552D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5524D9-CD40-8629-753B-D0D0D07552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feld 1">
            <a:extLst>
              <a:ext uri="{FF2B5EF4-FFF2-40B4-BE49-F238E27FC236}">
                <a16:creationId xmlns:a16="http://schemas.microsoft.com/office/drawing/2014/main" id="{EC0B0CD1-BC9B-EE6D-AC52-E9F650532C93}"/>
              </a:ext>
            </a:extLst>
          </p:cNvPr>
          <p:cNvSpPr txBox="1"/>
          <p:nvPr/>
        </p:nvSpPr>
        <p:spPr>
          <a:xfrm>
            <a:off x="1072054" y="861848"/>
            <a:ext cx="791429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Datenquellen (Beispiele)</a:t>
            </a:r>
          </a:p>
        </p:txBody>
      </p:sp>
      <p:pic>
        <p:nvPicPr>
          <p:cNvPr id="5" name="Grafik 4" descr="Ein Bild, das Text, Screenshot, Karte enthält.&#10;&#10;Automatisch generierte Beschreibung">
            <a:extLst>
              <a:ext uri="{FF2B5EF4-FFF2-40B4-BE49-F238E27FC236}">
                <a16:creationId xmlns:a16="http://schemas.microsoft.com/office/drawing/2014/main" id="{2593E8CB-7A9F-4F6A-ADA5-8094144AF9C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66293" y="2333297"/>
            <a:ext cx="2709310" cy="3904594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C293F44E-0D6C-234D-3C4F-1FACEE255AB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290019" y="2333294"/>
            <a:ext cx="2758139" cy="3904594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D8F06AE7-B4B7-ABF6-4EF2-644545D9C2F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322676" y="2333295"/>
            <a:ext cx="2497792" cy="3904595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7F3D2FC4-5DF7-32F2-77D7-9AD394463FF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362574" y="2333294"/>
            <a:ext cx="2806159" cy="3904595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123864094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795524D9-CD40-8629-753B-D0D0D07552D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5524D9-CD40-8629-753B-D0D0D07552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feld 1">
            <a:extLst>
              <a:ext uri="{FF2B5EF4-FFF2-40B4-BE49-F238E27FC236}">
                <a16:creationId xmlns:a16="http://schemas.microsoft.com/office/drawing/2014/main" id="{EC0B0CD1-BC9B-EE6D-AC52-E9F650532C93}"/>
              </a:ext>
            </a:extLst>
          </p:cNvPr>
          <p:cNvSpPr txBox="1"/>
          <p:nvPr/>
        </p:nvSpPr>
        <p:spPr>
          <a:xfrm>
            <a:off x="1072054" y="861848"/>
            <a:ext cx="791429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Bearbeitung (Beispiele)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66857A25-99DD-16B6-4DE6-7C789D9F4C9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85103" y="1785158"/>
            <a:ext cx="10119603" cy="4407793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90128725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795524D9-CD40-8629-753B-D0D0D07552D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5524D9-CD40-8629-753B-D0D0D07552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feld 1">
            <a:extLst>
              <a:ext uri="{FF2B5EF4-FFF2-40B4-BE49-F238E27FC236}">
                <a16:creationId xmlns:a16="http://schemas.microsoft.com/office/drawing/2014/main" id="{EC0B0CD1-BC9B-EE6D-AC52-E9F650532C93}"/>
              </a:ext>
            </a:extLst>
          </p:cNvPr>
          <p:cNvSpPr txBox="1"/>
          <p:nvPr/>
        </p:nvSpPr>
        <p:spPr>
          <a:xfrm>
            <a:off x="1072054" y="861848"/>
            <a:ext cx="791429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Ergebnisse (Beispiele)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814F08CF-EE30-355C-8955-8ED0EE57C01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96000" y="1261957"/>
            <a:ext cx="4182149" cy="5204957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7CA1D2B9-E75E-FEA9-953F-BB8A5EA7D53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72054" y="1541853"/>
            <a:ext cx="4619606" cy="4645164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11732630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795524D9-CD40-8629-753B-D0D0D07552D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5524D9-CD40-8629-753B-D0D0D07552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feld 1">
            <a:extLst>
              <a:ext uri="{FF2B5EF4-FFF2-40B4-BE49-F238E27FC236}">
                <a16:creationId xmlns:a16="http://schemas.microsoft.com/office/drawing/2014/main" id="{EC0B0CD1-BC9B-EE6D-AC52-E9F650532C93}"/>
              </a:ext>
            </a:extLst>
          </p:cNvPr>
          <p:cNvSpPr txBox="1"/>
          <p:nvPr/>
        </p:nvSpPr>
        <p:spPr>
          <a:xfrm>
            <a:off x="1072054" y="861848"/>
            <a:ext cx="791429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Unser eigenes lokales LLM (</a:t>
            </a:r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VICUNA 7B mit </a:t>
            </a:r>
            <a:r>
              <a:rPr lang="de-DE" sz="2000" b="1" dirty="0" err="1"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FastChat</a:t>
            </a:r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20C80314-EC8B-0E3F-2A77-FD163293FBF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9468" y="1261958"/>
            <a:ext cx="9272472" cy="5565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501880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795524D9-CD40-8629-753B-D0D0D07552D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5524D9-CD40-8629-753B-D0D0D07552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feld 1">
            <a:extLst>
              <a:ext uri="{FF2B5EF4-FFF2-40B4-BE49-F238E27FC236}">
                <a16:creationId xmlns:a16="http://schemas.microsoft.com/office/drawing/2014/main" id="{EC0B0CD1-BC9B-EE6D-AC52-E9F650532C93}"/>
              </a:ext>
            </a:extLst>
          </p:cNvPr>
          <p:cNvSpPr txBox="1"/>
          <p:nvPr/>
        </p:nvSpPr>
        <p:spPr>
          <a:xfrm>
            <a:off x="1072054" y="861848"/>
            <a:ext cx="791429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Erkenntnisse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6950DB4D-9F2E-A127-8DDA-9F4F1B4C0675}"/>
              </a:ext>
            </a:extLst>
          </p:cNvPr>
          <p:cNvSpPr txBox="1"/>
          <p:nvPr/>
        </p:nvSpPr>
        <p:spPr>
          <a:xfrm>
            <a:off x="1072054" y="1860331"/>
            <a:ext cx="9890235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de-DE" dirty="0">
              <a:latin typeface="Arial" panose="020B0604020202020204" pitchFamily="34" charset="0"/>
              <a:cs typeface="Arial" panose="020B0604020202020204" pitchFamily="34" charset="0"/>
              <a:sym typeface="Wingdings" pitchFamily="2" charset="2"/>
            </a:endParaRPr>
          </a:p>
          <a:p>
            <a:endParaRPr lang="de-DE" dirty="0">
              <a:latin typeface="Arial" panose="020B0604020202020204" pitchFamily="34" charset="0"/>
              <a:cs typeface="Arial" panose="020B0604020202020204" pitchFamily="34" charset="0"/>
              <a:sym typeface="Wingdings" pitchFamily="2" charset="2"/>
            </a:endParaRPr>
          </a:p>
          <a:p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Promptengineering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 für Feuerwehraufgabe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Begriffsdefinitionen (z.B. beschreiben, was unter einem Gliederungspunkt stehen soll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Schritte zur Lösung vorgeben (z.B. 1. Analysiere die Dokumente, 2. …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Rolle beschreiben, die die KI einnehmen soll (z.B. Einsatzleiterin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Bezug auf Dokumente beschreib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Qualität der Quellen ist wichtig</a:t>
            </a:r>
          </a:p>
          <a:p>
            <a:endParaRPr lang="de-DE" dirty="0">
              <a:latin typeface="Arial" panose="020B0604020202020204" pitchFamily="34" charset="0"/>
              <a:cs typeface="Arial" panose="020B0604020202020204" pitchFamily="34" charset="0"/>
              <a:sym typeface="Wingdings" pitchFamily="2" charset="2"/>
            </a:endParaRPr>
          </a:p>
          <a:p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Ein eigenes LLM ist möglich (ausprobiert haben wir VICUNA 7B mit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FastChat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). </a:t>
            </a:r>
          </a:p>
          <a:p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Die Antwortgeschwindigkeit ohne eines optimierten Modells liegt bei ca. 1 Wort pro Minute</a:t>
            </a:r>
          </a:p>
          <a:p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War auf Laptop lauffähig aber Performance hat nicht ausgereicht.</a:t>
            </a:r>
          </a:p>
        </p:txBody>
      </p:sp>
    </p:spTree>
    <p:extLst>
      <p:ext uri="{BB962C8B-B14F-4D97-AF65-F5344CB8AC3E}">
        <p14:creationId xmlns:p14="http://schemas.microsoft.com/office/powerpoint/2010/main" val="121302455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795524D9-CD40-8629-753B-D0D0D07552D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5524D9-CD40-8629-753B-D0D0D07552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feld 1">
            <a:extLst>
              <a:ext uri="{FF2B5EF4-FFF2-40B4-BE49-F238E27FC236}">
                <a16:creationId xmlns:a16="http://schemas.microsoft.com/office/drawing/2014/main" id="{EC0B0CD1-BC9B-EE6D-AC52-E9F650532C93}"/>
              </a:ext>
            </a:extLst>
          </p:cNvPr>
          <p:cNvSpPr txBox="1"/>
          <p:nvPr/>
        </p:nvSpPr>
        <p:spPr>
          <a:xfrm>
            <a:off x="1072054" y="861848"/>
            <a:ext cx="791429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Chancen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6950DB4D-9F2E-A127-8DDA-9F4F1B4C0675}"/>
              </a:ext>
            </a:extLst>
          </p:cNvPr>
          <p:cNvSpPr txBox="1"/>
          <p:nvPr/>
        </p:nvSpPr>
        <p:spPr>
          <a:xfrm>
            <a:off x="1072054" y="1860331"/>
            <a:ext cx="9890235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de-DE" dirty="0">
              <a:latin typeface="Arial" panose="020B0604020202020204" pitchFamily="34" charset="0"/>
              <a:cs typeface="Arial" panose="020B0604020202020204" pitchFamily="34" charset="0"/>
              <a:sym typeface="Wingdings" pitchFamily="2" charset="2"/>
            </a:endParaRPr>
          </a:p>
          <a:p>
            <a:endParaRPr lang="de-DE" dirty="0">
              <a:latin typeface="Arial" panose="020B0604020202020204" pitchFamily="34" charset="0"/>
              <a:cs typeface="Arial" panose="020B0604020202020204" pitchFamily="34" charset="0"/>
              <a:sym typeface="Wingdings" pitchFamily="2" charset="2"/>
            </a:endParaRPr>
          </a:p>
          <a:p>
            <a:pPr marL="285750" indent="-285750">
              <a:buFont typeface="Wingdings" pitchFamily="2" charset="2"/>
              <a:buChar char="Ø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Filtern und Bereitstellen der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Wissendatenbank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 aller aktuell gültigen internen Dokumente mi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Vorgefertigten Anfrag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Vorgefertigten Taschenkart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Auf die Rolle im Einsatz zugeschnitt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  <a:sym typeface="Wingdings" pitchFamily="2" charset="2"/>
            </a:endParaRPr>
          </a:p>
          <a:p>
            <a:pPr marL="285750" indent="-285750">
              <a:buFont typeface="Wingdings" pitchFamily="2" charset="2"/>
              <a:buChar char="Ø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Hilfe bei der Recherch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Vergleichen von Wisse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Herausfiltern von Unterschieden </a:t>
            </a:r>
            <a:r>
              <a:rPr lang="de-DE"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und Gemeinsamkeiten</a:t>
            </a:r>
            <a:endParaRPr lang="de-DE" dirty="0">
              <a:latin typeface="Arial" panose="020B0604020202020204" pitchFamily="34" charset="0"/>
              <a:cs typeface="Arial" panose="020B0604020202020204" pitchFamily="34" charset="0"/>
              <a:sym typeface="Wingdings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2692952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50</Words>
  <Application>Microsoft Macintosh PowerPoint</Application>
  <PresentationFormat>Breitbild</PresentationFormat>
  <Paragraphs>69</Paragraphs>
  <Slides>9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9</vt:i4>
      </vt:variant>
    </vt:vector>
  </HeadingPairs>
  <TitlesOfParts>
    <vt:vector size="15" baseType="lpstr">
      <vt:lpstr>Arial</vt:lpstr>
      <vt:lpstr>Calibri</vt:lpstr>
      <vt:lpstr>Calibri Light</vt:lpstr>
      <vt:lpstr>Wingdings</vt:lpstr>
      <vt:lpstr>Office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Benedict</dc:creator>
  <cp:lastModifiedBy>Benedict</cp:lastModifiedBy>
  <cp:revision>3</cp:revision>
  <dcterms:created xsi:type="dcterms:W3CDTF">2024-01-13T08:58:06Z</dcterms:created>
  <dcterms:modified xsi:type="dcterms:W3CDTF">2024-01-13T11:14:06Z</dcterms:modified>
</cp:coreProperties>
</file>